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7928EB-1557-4488-957B-44331BBC63D7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8A55D9-F2E9-468F-A3E5-2CCAF4114D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7476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062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43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61476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75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38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0627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2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143497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5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4" name="Objeto 3083" hidden="1">
            <a:extLst>
              <a:ext uri="{FF2B5EF4-FFF2-40B4-BE49-F238E27FC236}">
                <a16:creationId xmlns:a16="http://schemas.microsoft.com/office/drawing/2014/main" id="{F2BFB47D-CE56-BC40-1CFC-173F799A89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22" imgW="317" imgH="318" progId="TCLayout.ActiveDocument.1">
                  <p:embed/>
                </p:oleObj>
              </mc:Choice>
              <mc:Fallback>
                <p:oleObj name="think-cell 幻灯片" r:id="rId22" imgW="317" imgH="318" progId="TCLayout.ActiveDocument.1">
                  <p:embed/>
                  <p:pic>
                    <p:nvPicPr>
                      <p:cNvPr id="3084" name="Objeto 3083" hidden="1">
                        <a:extLst>
                          <a:ext uri="{FF2B5EF4-FFF2-40B4-BE49-F238E27FC236}">
                            <a16:creationId xmlns:a16="http://schemas.microsoft.com/office/drawing/2014/main" id="{F2BFB47D-CE56-BC40-1CFC-173F799A8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Conector recto 8">
            <a:extLst>
              <a:ext uri="{FF2B5EF4-FFF2-40B4-BE49-F238E27FC236}">
                <a16:creationId xmlns:a16="http://schemas.microsoft.com/office/drawing/2014/main" id="{EA2C06C7-4E36-CABD-C667-27E87BC3B562}"/>
              </a:ext>
            </a:extLst>
          </p:cNvPr>
          <p:cNvCxnSpPr>
            <a:cxnSpLocks/>
            <a:stCxn id="7" idx="0"/>
            <a:endCxn id="2" idx="2"/>
          </p:cNvCxnSpPr>
          <p:nvPr>
            <p:custDataLst>
              <p:tags r:id="rId3"/>
            </p:custDataLst>
          </p:nvPr>
        </p:nvCxnSpPr>
        <p:spPr>
          <a:xfrm flipV="1">
            <a:off x="519113" y="2036763"/>
            <a:ext cx="0" cy="3343275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" name="Conector recto 15">
            <a:extLst>
              <a:ext uri="{FF2B5EF4-FFF2-40B4-BE49-F238E27FC236}">
                <a16:creationId xmlns:a16="http://schemas.microsoft.com/office/drawing/2014/main" id="{F5759159-A9C6-4EA2-2578-037A76758B8F}"/>
              </a:ext>
            </a:extLst>
          </p:cNvPr>
          <p:cNvCxnSpPr>
            <a:cxnSpLocks/>
            <a:stCxn id="41" idx="3"/>
            <a:endCxn id="49" idx="1"/>
          </p:cNvCxnSpPr>
          <p:nvPr>
            <p:custDataLst>
              <p:tags r:id="rId4"/>
            </p:custDataLst>
          </p:nvPr>
        </p:nvCxnSpPr>
        <p:spPr>
          <a:xfrm>
            <a:off x="1077913" y="5964238"/>
            <a:ext cx="10263187" cy="1586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CF5A6160-BB28-4B8E-C4A6-E0EDB41C8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557338"/>
            <a:ext cx="244475" cy="4794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vert270" wrap="none" lIns="31750" tIns="0" rIns="30163" bIns="619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zh-CN" altLang="en-US" sz="12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高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99A6D62-73E9-4C29-DA2F-CFC3F88BED6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96875" y="3335338"/>
            <a:ext cx="244475" cy="7302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vert270" wrap="none" lIns="31750" tIns="0" rIns="301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中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5C09B60-B2AE-938B-7785-F5659BEE9A0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96875" y="5380038"/>
            <a:ext cx="244475" cy="436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vert270" wrap="none" lIns="31750" tIns="0" rIns="30163" bIns="6032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低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41350" y="5842000"/>
            <a:ext cx="436563" cy="244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60325" tIns="31750" rIns="0" bIns="301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低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67DEF7-48CD-9BE5-7DEA-C2761CECBBE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838825" y="5845174"/>
            <a:ext cx="730250" cy="241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30163" rIns="0" bIns="2857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中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C516EB5-16D2-5D24-F233-7F60A6DAF47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1341100" y="5845174"/>
            <a:ext cx="479425" cy="241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30163" rIns="60325" bIns="28575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高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6CF4D-020A-1F69-2EC0-BE28BD5E900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373564" y="1557338"/>
            <a:ext cx="3724275" cy="1419225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28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2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2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2_content}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AADC123-1B35-B947-219F-521BE4AB62C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50875" y="2976563"/>
            <a:ext cx="3722688" cy="1420813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4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4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4_content}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AC4D70-6A70-C231-819E-BE9B09CD83F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097838" y="2976563"/>
            <a:ext cx="3722688" cy="1420813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2075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6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6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6_content}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A98C3B8-827E-7F84-10DF-239D8BCDE5DA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50875" y="4397375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0488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7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7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7_content}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C302100-B8FE-F813-203F-D5896FA52E93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373564" y="4397375"/>
            <a:ext cx="3724275" cy="1419225"/>
          </a:xfrm>
          <a:prstGeom prst="rect">
            <a:avLst/>
          </a:prstGeom>
          <a:solidFill>
            <a:schemeClr val="bg2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0488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8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8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8_content}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AC4A2011-2E1E-7872-0015-151B42F6579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4778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trices, table, tables, think-cel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D16985F-C455-D0D9-1D25-B1B78FA1E4D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50875" y="1557338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28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}</a:t>
            </a:r>
          </a:p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45DF1C9-0947-4B60-6570-F92C61566B1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097838" y="1557338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2075" rIns="0" bIns="242888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3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3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3_content}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12824372-1ADC-D2FD-0F00-1A84ED31A454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373564" y="2976563"/>
            <a:ext cx="3724275" cy="142081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2075" tIns="92075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5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5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5_content}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6C2FA7A-45B2-285C-D62A-10DB8E312F31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8097838" y="4397375"/>
            <a:ext cx="3722688" cy="141922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none" lIns="90488" tIns="90488" rIns="0" bIns="24447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800" dirty="0">
                <a:solidFill>
                  <a:srgbClr val="1A7449"/>
                </a:solidFill>
                <a:sym typeface="Futura"/>
              </a:rPr>
              <a:t>{bullet_9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b="1" dirty="0">
                <a:solidFill>
                  <a:srgbClr val="03522D"/>
                </a:solidFill>
                <a:sym typeface="Futura"/>
              </a:rPr>
              <a:t>{bullet_9_description}</a:t>
            </a:r>
          </a:p>
          <a:p>
            <a:pPr lvl="0" indent="0">
              <a:spcAft>
                <a:spcPts val="600"/>
              </a:spcAft>
              <a:buClr>
                <a:srgbClr val="000000"/>
              </a:buClr>
              <a:buNone/>
              <a:defRPr/>
            </a:pPr>
            <a:r>
              <a:rPr lang="en-US" altLang="zh-CN" sz="1100" dirty="0">
                <a:solidFill>
                  <a:srgbClr val="000000"/>
                </a:solidFill>
                <a:sym typeface="Futura"/>
              </a:rPr>
              <a:t>{bullet_9_content}</a:t>
            </a:r>
          </a:p>
          <a:p>
            <a:pPr marL="355600" marR="0" lvl="1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5" name="Rectangle 18">
            <a:extLst>
              <a:ext uri="{FF2B5EF4-FFF2-40B4-BE49-F238E27FC236}">
                <a16:creationId xmlns:a16="http://schemas.microsoft.com/office/drawing/2014/main" id="{79BEB90C-7B29-2C8F-CB86-5FF484998816}"/>
              </a:ext>
            </a:extLst>
          </p:cNvPr>
          <p:cNvSpPr>
            <a:spLocks/>
          </p:cNvSpPr>
          <p:nvPr/>
        </p:nvSpPr>
        <p:spPr>
          <a:xfrm>
            <a:off x="8811109" y="-251996"/>
            <a:ext cx="4575600" cy="811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matrix is created using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text boxe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dit the tex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simply click the text box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 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with ribbon commands or the think-cell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5953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QSJgHnMbJGnR6xeLeW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.6cH0xWhQ5xMV82yQS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PAqZVdslGlH8oKbpK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otlDZ0vnT8R4qQBP52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Q5zc5S6Wbsuuku6hA8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xZjHEhdJOr5rp1pWDi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j81mHJmzNN66OsrOZy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YJVekYj6u3dQJ0sdG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cZYWxYPF7C8GnlPl5b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qNW92.ql5t4JK6yRus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ozGcXteOFD3sTQch7n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Iq1BLJAc64tmdkr5Fe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JLTVNK.zkx2m03Q.81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UJPLr1FppTggprbiG1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tr8R_Lyqq05fZP9mKx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1BCmu6d.Umx1J8Scmu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635vQtOSyXvJRwIOFCi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23</Words>
  <Application>Microsoft Office PowerPoint</Application>
  <PresentationFormat>宽屏</PresentationFormat>
  <Paragraphs>3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rix: Nine blocks</dc:title>
  <dc:creator>后梦雪</dc:creator>
  <cp:lastModifiedBy>后梦雪</cp:lastModifiedBy>
  <cp:revision>3</cp:revision>
  <dcterms:created xsi:type="dcterms:W3CDTF">2025-09-05T05:55:06Z</dcterms:created>
  <dcterms:modified xsi:type="dcterms:W3CDTF">2025-09-05T05:57:50Z</dcterms:modified>
</cp:coreProperties>
</file>